
<file path=[Content_Types].xml><?xml version="1.0" encoding="utf-8"?>
<Types xmlns="http://schemas.openxmlformats.org/package/2006/content-types">
  <Default Extension="fntdata" ContentType="application/x-fontdata"/>
  <Default Extension="glb" ContentType="model/gltf.binary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notesSlides/notesSlide1.xml" ContentType="application/vnd.openxmlformats-officedocument.presentationml.notesSlide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1.xml" ContentType="application/vnd.openxmlformats-officedocument.theme+xml"/>
  <Override PartName="/ppt/theme/theme2.xml" ContentType="application/vnd.openxmlformats-officedocument.theme+xml"/>
  <Override PartName="/ppt/notesMasters/notesMaster1.xml" ContentType="application/vnd.openxmlformats-officedocument.presentationml.notesMaster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6"/>
  </p:notesMasterIdLst>
  <p:sldIdLst>
    <p:sldId id="258" r:id="rId2"/>
    <p:sldId id="257" r:id="rId3"/>
    <p:sldId id="259" r:id="rId4"/>
    <p:sldId id="256" r:id="rId5"/>
  </p:sldIdLst>
  <p:sldSz cx="12192000" cy="6858000"/>
  <p:notesSz cx="6858000" cy="9144000"/>
  <p:embeddedFontLst>
    <p:embeddedFont>
      <p:font typeface="Lato" panose="020F0502020204030203" pitchFamily="34" charset="0"/>
      <p:regular r:id="rId7"/>
      <p:bold r:id="rId8"/>
      <p:italic r:id="rId9"/>
      <p:boldItalic r:id="rId10"/>
    </p:embeddedFont>
    <p:embeddedFont>
      <p:font typeface="Lato Black" panose="020F0502020204030203" pitchFamily="34" charset="0"/>
      <p:bold r:id="rId11"/>
      <p:boldItalic r:id="rId12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oject - Ready" id="{859DF9DE-AD91-4107-B8AE-F862B331AAA9}">
          <p14:sldIdLst>
            <p14:sldId id="258"/>
            <p14:sldId id="257"/>
            <p14:sldId id="259"/>
          </p14:sldIdLst>
        </p14:section>
        <p14:section name="ASSETS:" id="{76192634-DE3D-4C71-8A63-027390CD7133}">
          <p14:sldIdLst>
            <p14:sldId id="25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D76F1"/>
    <a:srgbClr val="4361EE"/>
    <a:srgbClr val="4B8D9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104" autoAdjust="0"/>
    <p:restoredTop sz="92244" autoAdjust="0"/>
  </p:normalViewPr>
  <p:slideViewPr>
    <p:cSldViewPr snapToGrid="0">
      <p:cViewPr varScale="1">
        <p:scale>
          <a:sx n="71" d="100"/>
          <a:sy n="71" d="100"/>
        </p:scale>
        <p:origin x="77" y="845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2.fntdata"/><Relationship Id="rId13" Type="http://schemas.openxmlformats.org/officeDocument/2006/relationships/presProps" Target="presProps.xml"/><Relationship Id="rId18" Type="http://schemas.openxmlformats.org/officeDocument/2006/relationships/customXml" Target="../customXml/item2.xml"/><Relationship Id="rId3" Type="http://schemas.openxmlformats.org/officeDocument/2006/relationships/slide" Target="slides/slide2.xml"/><Relationship Id="rId7" Type="http://schemas.openxmlformats.org/officeDocument/2006/relationships/font" Target="fonts/font1.fntdata"/><Relationship Id="rId12" Type="http://schemas.openxmlformats.org/officeDocument/2006/relationships/font" Target="fonts/font6.fntdata"/><Relationship Id="rId17" Type="http://schemas.openxmlformats.org/officeDocument/2006/relationships/customXml" Target="../customXml/item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font" Target="fonts/font5.fntdata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font" Target="fonts/font4.fntdata"/><Relationship Id="rId19" Type="http://schemas.openxmlformats.org/officeDocument/2006/relationships/customXml" Target="../customXml/item3.xml"/><Relationship Id="rId4" Type="http://schemas.openxmlformats.org/officeDocument/2006/relationships/slide" Target="slides/slide3.xml"/><Relationship Id="rId9" Type="http://schemas.openxmlformats.org/officeDocument/2006/relationships/font" Target="fonts/font3.fntdata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80D3D2-54F6-46D4-8D5A-47949BA22D59}" type="datetimeFigureOut">
              <a:rPr lang="en-US" smtClean="0"/>
              <a:t>1/25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583C465-BD04-4B37-9E47-EDC350A635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8341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83C465-BD04-4B37-9E47-EDC350A635F1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98430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F12085-F8D9-5206-CF25-968B3B11982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8529716-1CBA-D819-5FA0-3A82353A530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8BD0E2-5C9D-7627-B5DA-57F308AFA1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4E876-01CD-46EC-9BEF-73CD9A7D8515}" type="datetimeFigureOut">
              <a:rPr lang="en-US" smtClean="0"/>
              <a:t>1/2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6C289B9-BA4A-96FF-7452-8DDF270A3A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3C360E-7320-47FA-EC24-8064919D2D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0F34F3-9931-4A8D-B2AD-8ED27E265E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29653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49993A-85EB-8DCE-600B-9227006AAB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C4AC660-C375-4757-371F-43A915460E3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FFCEE1-C255-F70B-B0A5-3F8CCF48E8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4E876-01CD-46EC-9BEF-73CD9A7D8515}" type="datetimeFigureOut">
              <a:rPr lang="en-US" smtClean="0"/>
              <a:t>1/2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055EBA-C52B-B5F8-4BFD-F4589BC2E5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88E7918-F2EC-0B6F-9C2C-122CA6C5DA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0F34F3-9931-4A8D-B2AD-8ED27E265E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1459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665A841-5704-A098-246A-13CE57B7506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7ED76BB-615D-3CF4-F580-9C8F33E8722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ABD2588-D8C9-FEA4-80B4-85D3E0C522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4E876-01CD-46EC-9BEF-73CD9A7D8515}" type="datetimeFigureOut">
              <a:rPr lang="en-US" smtClean="0"/>
              <a:t>1/2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9F390D-DF52-B81F-EF6E-9BE9FEEF99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365D9C-486E-DB91-C00E-54C2EAF7D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0F34F3-9931-4A8D-B2AD-8ED27E265E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96794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04F5AC-16E6-4710-47EA-41A18610D1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D045D5-CBB4-1306-6225-882A754AA0B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8033E7-8622-F28E-A4BA-80FA3B3C80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4E876-01CD-46EC-9BEF-73CD9A7D8515}" type="datetimeFigureOut">
              <a:rPr lang="en-US" smtClean="0"/>
              <a:t>1/2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CD7DC5-7BD0-19AD-0189-50CF79F1B3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3B8661E-6465-DCD2-E6EE-6D5B0FC09E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0F34F3-9931-4A8D-B2AD-8ED27E265E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41172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E73F31-4970-4A41-1FE1-EA9687457C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E624427-90A0-7E3F-217F-E0A4A8EB83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70807E-D065-022B-3712-79C97C567E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4E876-01CD-46EC-9BEF-73CD9A7D8515}" type="datetimeFigureOut">
              <a:rPr lang="en-US" smtClean="0"/>
              <a:t>1/2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864D982-7F8C-367A-8AEC-0FD783D923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E7210E-E014-1E11-3219-827920286A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0F34F3-9931-4A8D-B2AD-8ED27E265E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24643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5190E8-D7E4-82C1-1BFE-07A124D48F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FB32F5-484A-E4CA-98EF-1D73BC2BB46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83126AF-5ABC-DBF3-C10F-7B24862A9A0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D0B158-1CE3-D8F8-B02B-6B15C58CB0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4E876-01CD-46EC-9BEF-73CD9A7D8515}" type="datetimeFigureOut">
              <a:rPr lang="en-US" smtClean="0"/>
              <a:t>1/2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FA311A4-474C-F196-062D-2DB31F1EA2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E2B1CD8-3E58-AB3E-C59B-B133119B7C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0F34F3-9931-4A8D-B2AD-8ED27E265E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16867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0B9B43-9FA9-54E8-941A-92B033D9D5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99F005-4800-062B-577F-82D38931CF0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AF42AC6-FE6D-BA35-3242-757DBB744DC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6D8A9C7-722A-6834-72F8-708C5F7FC70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40F395E-85CB-8715-F9F6-BD0AD625468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EE9439C-FAFC-8BE7-D799-9053F6BB58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4E876-01CD-46EC-9BEF-73CD9A7D8515}" type="datetimeFigureOut">
              <a:rPr lang="en-US" smtClean="0"/>
              <a:t>1/25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5BC095F-0629-46A9-F81F-0DF38FC94D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3A06BD-2154-C3FC-2C3F-FF551AA1B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0F34F3-9931-4A8D-B2AD-8ED27E265E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65242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67BB58-F3B9-9D7D-3C30-5352A30D50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2AF9F44-5136-7511-29E4-A52166F4AE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4E876-01CD-46EC-9BEF-73CD9A7D8515}" type="datetimeFigureOut">
              <a:rPr lang="en-US" smtClean="0"/>
              <a:t>1/25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E8685ED-6CD2-E1D6-C3C3-71B82E887D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EEC434C-7C66-A9CB-7F15-1E061ADD22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0F34F3-9931-4A8D-B2AD-8ED27E265E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94359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9FC1969-67F8-9AF2-6924-0852FD5C2C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4E876-01CD-46EC-9BEF-73CD9A7D8515}" type="datetimeFigureOut">
              <a:rPr lang="en-US" smtClean="0"/>
              <a:t>1/25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6F15B8A-4733-DFA5-15C9-08A9846497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F4B1847-0FBD-E82D-EAAC-F72034CCD2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0F34F3-9931-4A8D-B2AD-8ED27E265E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13661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DE6C8A-B195-66B6-422E-61B4C8AEFB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A79799-90BB-4137-4BE1-7957811C082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CBF3838-BBEB-8998-1EEA-35C04C32A7D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46767D-D00E-2E1F-A146-9111A25685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4E876-01CD-46EC-9BEF-73CD9A7D8515}" type="datetimeFigureOut">
              <a:rPr lang="en-US" smtClean="0"/>
              <a:t>1/2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E3B959C-5937-3A76-0B52-996EF9E9E1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1248A55-766D-6FE7-BF18-E26677B98C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0F34F3-9931-4A8D-B2AD-8ED27E265E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45532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81DF39-D8EE-5287-F8C5-641AA9DD07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858E37C-31C2-4819-BCC2-17B956FDBA7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F2E1DF9-7DEE-6BC2-2676-CA348A822FA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DD64C88-229F-D500-6714-622DB6F72E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4E876-01CD-46EC-9BEF-73CD9A7D8515}" type="datetimeFigureOut">
              <a:rPr lang="en-US" smtClean="0"/>
              <a:t>1/2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1245CD-8993-BDAF-0F55-67293F6BD2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FB20875-9B10-EA27-6CD0-0D4BD26DF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0F34F3-9931-4A8D-B2AD-8ED27E265E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3498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9AD0A68-E5E7-B7F4-6577-41A9C185CE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B88274-FD9C-BDFA-8D18-5741D9FF562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96570C6-6A28-C0E7-8CEA-82842529051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D4E876-01CD-46EC-9BEF-73CD9A7D8515}" type="datetimeFigureOut">
              <a:rPr lang="en-US" smtClean="0"/>
              <a:t>1/2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25D5AE3-F508-0586-A479-FEEA8BDB4D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437835-6C14-D036-9949-0C0A3F99EC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D0F34F3-9931-4A8D-B2AD-8ED27E265E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949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17/06/relationships/model3d" Target="../media/model3d1.glb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4" Type="http://schemas.openxmlformats.org/officeDocument/2006/relationships/image" Target="../media/image1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5" Type="http://schemas.microsoft.com/office/2017/06/relationships/model3d" Target="../media/model3d1.glb"/><Relationship Id="rId4" Type="http://schemas.openxmlformats.org/officeDocument/2006/relationships/hyperlink" Target="https://sketchfab.com/3d-models/coptic-prayer-book-500ec4621d764f0dadb8edc93b8700ae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41F334EB-B48E-49FB-04D6-5B4C53CDFFED}"/>
              </a:ext>
            </a:extLst>
          </p:cNvPr>
          <p:cNvSpPr txBox="1"/>
          <p:nvPr/>
        </p:nvSpPr>
        <p:spPr>
          <a:xfrm>
            <a:off x="4380626" y="4788977"/>
            <a:ext cx="302685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4000" b="1" dirty="0">
                <a:solidFill>
                  <a:schemeClr val="accent4"/>
                </a:solidFill>
                <a:latin typeface="Calibri" panose="020F0502020204030204" pitchFamily="34" charset="0"/>
              </a:rPr>
              <a:t>Olive baboon</a:t>
            </a:r>
            <a:endParaRPr lang="en-US" sz="4000" b="1" dirty="0">
              <a:solidFill>
                <a:schemeClr val="accent4"/>
              </a:solidFill>
              <a:latin typeface="Calibri" panose="020F050202020403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AF2EAF5-5095-474F-6B9E-5F0465056BAE}"/>
              </a:ext>
            </a:extLst>
          </p:cNvPr>
          <p:cNvSpPr txBox="1"/>
          <p:nvPr/>
        </p:nvSpPr>
        <p:spPr>
          <a:xfrm>
            <a:off x="3048000" y="5575300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b="0" i="0" dirty="0">
                <a:solidFill>
                  <a:srgbClr val="202122"/>
                </a:solidFill>
                <a:effectLst/>
                <a:latin typeface="Calibri" panose="020F0502020204030204" pitchFamily="34" charset="0"/>
              </a:rPr>
              <a:t>one of the largest species of monkey</a:t>
            </a:r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3F103DA-75C4-F4F7-95BA-E08477C1BD0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32001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0"/>
    </mc:Choice>
    <mc:Fallback xmlns="">
      <p:transition advClick="0" advTm="0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G Shape">
            <a:extLst>
              <a:ext uri="{FF2B5EF4-FFF2-40B4-BE49-F238E27FC236}">
                <a16:creationId xmlns:a16="http://schemas.microsoft.com/office/drawing/2014/main" id="{C3F103DA-75C4-F4F7-95BA-E08477C1BD0D}"/>
              </a:ext>
            </a:extLst>
          </p:cNvPr>
          <p:cNvSpPr/>
          <p:nvPr/>
        </p:nvSpPr>
        <p:spPr>
          <a:xfrm>
            <a:off x="0" y="0"/>
            <a:ext cx="4440768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CD8E082B-F666-AF12-5081-2B28E0B851F9}"/>
              </a:ext>
            </a:extLst>
          </p:cNvPr>
          <p:cNvSpPr/>
          <p:nvPr/>
        </p:nvSpPr>
        <p:spPr>
          <a:xfrm>
            <a:off x="2820609" y="1696714"/>
            <a:ext cx="3251212" cy="3251212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8C992CD7-D273-3753-D9CC-C2840CD02BDE}"/>
              </a:ext>
            </a:extLst>
          </p:cNvPr>
          <p:cNvSpPr/>
          <p:nvPr/>
        </p:nvSpPr>
        <p:spPr>
          <a:xfrm>
            <a:off x="2515809" y="1391914"/>
            <a:ext cx="3860812" cy="3860812"/>
          </a:xfrm>
          <a:prstGeom prst="ellipse">
            <a:avLst/>
          </a:prstGeom>
          <a:noFill/>
          <a:ln w="38100" cap="rnd">
            <a:solidFill>
              <a:schemeClr val="accent4">
                <a:lumMod val="20000"/>
                <a:lumOff val="80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F4CE828-C6D1-1E27-089D-119C1CA3DC04}"/>
              </a:ext>
            </a:extLst>
          </p:cNvPr>
          <p:cNvGrpSpPr/>
          <p:nvPr/>
        </p:nvGrpSpPr>
        <p:grpSpPr>
          <a:xfrm>
            <a:off x="6991133" y="1391914"/>
            <a:ext cx="4059043" cy="1170878"/>
            <a:chOff x="7235987" y="2118732"/>
            <a:chExt cx="4059043" cy="1170878"/>
          </a:xfrm>
        </p:grpSpPr>
        <p:sp>
          <p:nvSpPr>
            <p:cNvPr id="7" name="Rectangle: Top Corners Rounded 6">
              <a:extLst>
                <a:ext uri="{FF2B5EF4-FFF2-40B4-BE49-F238E27FC236}">
                  <a16:creationId xmlns:a16="http://schemas.microsoft.com/office/drawing/2014/main" id="{77FD497A-FE38-1454-E86D-FFF97CB965D5}"/>
                </a:ext>
              </a:extLst>
            </p:cNvPr>
            <p:cNvSpPr/>
            <p:nvPr/>
          </p:nvSpPr>
          <p:spPr>
            <a:xfrm>
              <a:off x="7235987" y="2118732"/>
              <a:ext cx="4059043" cy="1170878"/>
            </a:xfrm>
            <a:prstGeom prst="round2SameRect">
              <a:avLst>
                <a:gd name="adj1" fmla="val 16667"/>
                <a:gd name="adj2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41F334EB-B48E-49FB-04D6-5B4C53CDFFED}"/>
                </a:ext>
              </a:extLst>
            </p:cNvPr>
            <p:cNvSpPr txBox="1"/>
            <p:nvPr/>
          </p:nvSpPr>
          <p:spPr>
            <a:xfrm>
              <a:off x="7837972" y="2350228"/>
              <a:ext cx="2850460" cy="7078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l-PL" sz="4000" dirty="0">
                  <a:solidFill>
                    <a:schemeClr val="bg1"/>
                  </a:solidFill>
                  <a:latin typeface="Lato Black" panose="020F0502020204030203" pitchFamily="34" charset="0"/>
                  <a:ea typeface="Lato Black" panose="020F0502020204030203" pitchFamily="34" charset="0"/>
                  <a:cs typeface="Lato Black" panose="020F0502020204030203" pitchFamily="34" charset="0"/>
                </a:rPr>
                <a:t>THE BOOK</a:t>
              </a:r>
              <a:endParaRPr lang="en-US" sz="4000" dirty="0">
                <a:solidFill>
                  <a:schemeClr val="bg1"/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</p:grpSp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9" name="3D Model 8">
                <a:extLst>
                  <a:ext uri="{FF2B5EF4-FFF2-40B4-BE49-F238E27FC236}">
                    <a16:creationId xmlns:a16="http://schemas.microsoft.com/office/drawing/2014/main" id="{49356521-A5A4-7019-22D3-A3A92513FD35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087716318"/>
                  </p:ext>
                </p:extLst>
              </p:nvPr>
            </p:nvGraphicFramePr>
            <p:xfrm>
              <a:off x="3138064" y="1682311"/>
              <a:ext cx="2616302" cy="3098036"/>
            </p:xfrm>
            <a:graphic>
              <a:graphicData uri="http://schemas.microsoft.com/office/drawing/2017/model3d">
                <am3d:model3d r:embed="rId3">
                  <am3d:spPr>
                    <a:xfrm>
                      <a:off x="0" y="0"/>
                      <a:ext cx="2616302" cy="3098036"/>
                    </a:xfrm>
                    <a:prstGeom prst="rect">
                      <a:avLst/>
                    </a:prstGeom>
                  </am3d:spPr>
                  <am3d:camera>
                    <am3d:pos x="0" y="0" z="77200979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4175" d="1000000"/>
                    <am3d:preTrans dx="-655293" dy="-327714" dz="1017313"/>
                    <am3d:scale>
                      <am3d:sx n="1000000" d="1000000"/>
                      <am3d:sy n="1000000" d="1000000"/>
                      <am3d:sz n="1000000" d="1000000"/>
                    </am3d:scale>
                    <am3d:rot ax="5349533" ay="2738846" az="5329393"/>
                    <am3d:postTrans dx="0" dy="0" dz="0"/>
                  </am3d:trans>
                  <am3d:raster rName="Office3DRenderer" rVer="16.0.8326">
                    <am3d:blip r:embed="rId4"/>
                  </am3d:raster>
                  <am3d:objViewport viewportSz="6486768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9" name="3D Model 8">
                <a:extLst>
                  <a:ext uri="{FF2B5EF4-FFF2-40B4-BE49-F238E27FC236}">
                    <a16:creationId xmlns:a16="http://schemas.microsoft.com/office/drawing/2014/main" id="{49356521-A5A4-7019-22D3-A3A92513FD35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3138064" y="1682311"/>
                <a:ext cx="2616302" cy="3098036"/>
              </a:xfrm>
              <a:prstGeom prst="rect">
                <a:avLst/>
              </a:prstGeom>
            </p:spPr>
          </p:pic>
        </mc:Fallback>
      </mc:AlternateContent>
      <p:sp>
        <p:nvSpPr>
          <p:cNvPr id="10" name="TextBox 9">
            <a:extLst>
              <a:ext uri="{FF2B5EF4-FFF2-40B4-BE49-F238E27FC236}">
                <a16:creationId xmlns:a16="http://schemas.microsoft.com/office/drawing/2014/main" id="{02C849E3-7A67-9EEC-E3F0-1B1E01975975}"/>
              </a:ext>
            </a:extLst>
          </p:cNvPr>
          <p:cNvSpPr txBox="1"/>
          <p:nvPr/>
        </p:nvSpPr>
        <p:spPr>
          <a:xfrm>
            <a:off x="7218798" y="2972064"/>
            <a:ext cx="3591959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l-PL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Lorem ipsum dolor sit amet, consectetuer adipiscing elit. Maecenas porttitor congue massa.</a:t>
            </a:r>
          </a:p>
          <a:p>
            <a:pPr algn="just"/>
            <a:r>
              <a:rPr lang="pl-PL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Fusce posuere, magna sed pulvinar ultricies, purus lectus malesuada libero, sit amet commodo magna eros quis urna.</a:t>
            </a:r>
          </a:p>
          <a:p>
            <a:pPr algn="just"/>
            <a:endParaRPr lang="en-US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9040133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1500" advClick="0" advTm="0">
        <p159:morph option="byObject"/>
      </p:transition>
    </mc:Choice>
    <mc:Fallback>
      <p:transition spd="slow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8" presetClass="emph" presetSubtype="0" repeatCount="indefinite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6" dur="15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7" presetID="60" presetClass="entr" presetSubtype="12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 additive="sum">
                                        <p:cTn id="20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3d.view.rotation.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20"/>
                                          </p:val>
                                        </p:tav>
                                        <p:tav tm="3330">
                                          <p:val>
                                            <p:fltVal val="-19.9349"/>
                                          </p:val>
                                        </p:tav>
                                        <p:tav tm="6660">
                                          <p:val>
                                            <p:fltVal val="-19.7456"/>
                                          </p:val>
                                        </p:tav>
                                        <p:tav tm="9990">
                                          <p:val>
                                            <p:fltVal val="-19.441"/>
                                          </p:val>
                                        </p:tav>
                                        <p:tav tm="13320">
                                          <p:val>
                                            <p:fltVal val="-19.0299"/>
                                          </p:val>
                                        </p:tav>
                                        <p:tav tm="16650">
                                          <p:val>
                                            <p:fltVal val="-18.5212"/>
                                          </p:val>
                                        </p:tav>
                                        <p:tav tm="19970">
                                          <p:val>
                                            <p:fltVal val="-17.9257"/>
                                          </p:val>
                                        </p:tav>
                                        <p:tav tm="23290">
                                          <p:val>
                                            <p:fltVal val="-17.2507"/>
                                          </p:val>
                                        </p:tav>
                                        <p:tav tm="26620">
                                          <p:val>
                                            <p:fltVal val="-16.5027"/>
                                          </p:val>
                                        </p:tav>
                                        <p:tav tm="29950">
                                          <p:val>
                                            <p:fltVal val="-15.6925"/>
                                          </p:val>
                                        </p:tav>
                                        <p:tav tm="33280">
                                          <p:val>
                                            <p:fltVal val="-14.829"/>
                                          </p:val>
                                        </p:tav>
                                        <p:tav tm="36610">
                                          <p:val>
                                            <p:fltVal val="-13.9209"/>
                                          </p:val>
                                        </p:tav>
                                        <p:tav tm="39940">
                                          <p:val>
                                            <p:fltVal val="-12.9772"/>
                                          </p:val>
                                        </p:tav>
                                        <p:tav tm="43270">
                                          <p:val>
                                            <p:fltVal val="-12.0068"/>
                                          </p:val>
                                        </p:tav>
                                        <p:tav tm="46600">
                                          <p:val>
                                            <p:fltVal val="-11.0184"/>
                                          </p:val>
                                        </p:tav>
                                        <p:tav tm="49930">
                                          <p:val>
                                            <p:fltVal val="-10.0209"/>
                                          </p:val>
                                        </p:tav>
                                        <p:tav tm="53250">
                                          <p:val>
                                            <p:fltVal val="-9.0263"/>
                                          </p:val>
                                        </p:tav>
                                        <p:tav tm="56580">
                                          <p:val>
                                            <p:fltVal val="-8.0373"/>
                                          </p:val>
                                        </p:tav>
                                        <p:tav tm="59900">
                                          <p:val>
                                            <p:fltVal val="-7.0688"/>
                                          </p:val>
                                        </p:tav>
                                        <p:tav tm="63220">
                                          <p:val>
                                            <p:fltVal val="-6.1264"/>
                                          </p:val>
                                        </p:tav>
                                        <p:tav tm="66540">
                                          <p:val>
                                            <p:fltVal val="-5.2189"/>
                                          </p:val>
                                        </p:tav>
                                        <p:tav tm="69870">
                                          <p:val>
                                            <p:fltVal val="-4.3528"/>
                                          </p:val>
                                        </p:tav>
                                        <p:tav tm="73190">
                                          <p:val>
                                            <p:fltVal val="-3.5418"/>
                                          </p:val>
                                        </p:tav>
                                        <p:tav tm="76510">
                                          <p:val>
                                            <p:fltVal val="-2.7922"/>
                                          </p:val>
                                        </p:tav>
                                        <p:tav tm="79830">
                                          <p:val>
                                            <p:fltVal val="-2.1127"/>
                                          </p:val>
                                        </p:tav>
                                        <p:tav tm="83160">
                                          <p:val>
                                            <p:fltVal val="-1.5104"/>
                                          </p:val>
                                        </p:tav>
                                        <p:tav tm="86480">
                                          <p:val>
                                            <p:fltVal val="-0.9978"/>
                                          </p:val>
                                        </p:tav>
                                        <p:tav tm="89800">
                                          <p:val>
                                            <p:fltVal val="-0.5817"/>
                                          </p:val>
                                        </p:tav>
                                        <p:tav tm="93120">
                                          <p:val>
                                            <p:fltVal val="-0.2709"/>
                                          </p:val>
                                        </p:tav>
                                        <p:tav tm="96450">
                                          <p:val>
                                            <p:fltVal val="-0.0738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mult">
                                        <p:cTn id="21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3d.object.scale.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8"/>
                                          </p:val>
                                        </p:tav>
                                        <p:tav tm="3330">
                                          <p:val>
                                            <p:fltVal val="0.8104"/>
                                          </p:val>
                                        </p:tav>
                                        <p:tav tm="6660">
                                          <p:val>
                                            <p:fltVal val="0.8208"/>
                                          </p:val>
                                        </p:tav>
                                        <p:tav tm="9990">
                                          <p:val>
                                            <p:fltVal val="0.8312"/>
                                          </p:val>
                                        </p:tav>
                                        <p:tav tm="13320">
                                          <p:val>
                                            <p:fltVal val="0.8415"/>
                                          </p:val>
                                        </p:tav>
                                        <p:tav tm="16650">
                                          <p:val>
                                            <p:fltVal val="0.8517"/>
                                          </p:val>
                                        </p:tav>
                                        <p:tav tm="19970">
                                          <p:val>
                                            <p:fltVal val="0.8617"/>
                                          </p:val>
                                        </p:tav>
                                        <p:tav tm="23290">
                                          <p:val>
                                            <p:fltVal val="0.8715"/>
                                          </p:val>
                                        </p:tav>
                                        <p:tav tm="26620">
                                          <p:val>
                                            <p:fltVal val="0.8812"/>
                                          </p:val>
                                        </p:tav>
                                        <p:tav tm="29950">
                                          <p:val>
                                            <p:fltVal val="0.8906"/>
                                          </p:val>
                                        </p:tav>
                                        <p:tav tm="33280">
                                          <p:val>
                                            <p:fltVal val="0.8998"/>
                                          </p:val>
                                        </p:tav>
                                        <p:tav tm="36610">
                                          <p:val>
                                            <p:fltVal val="0.9087"/>
                                          </p:val>
                                        </p:tav>
                                        <p:tav tm="39940">
                                          <p:val>
                                            <p:fltVal val="0.9174"/>
                                          </p:val>
                                        </p:tav>
                                        <p:tav tm="43270">
                                          <p:val>
                                            <p:fltVal val="0.9257"/>
                                          </p:val>
                                        </p:tav>
                                        <p:tav tm="46600">
                                          <p:val>
                                            <p:fltVal val="0.9336"/>
                                          </p:val>
                                        </p:tav>
                                        <p:tav tm="49930">
                                          <p:val>
                                            <p:fltVal val="0.9412"/>
                                          </p:val>
                                        </p:tav>
                                        <p:tav tm="53250">
                                          <p:val>
                                            <p:fltVal val="0.9484"/>
                                          </p:val>
                                        </p:tav>
                                        <p:tav tm="56580">
                                          <p:val>
                                            <p:fltVal val="0.9552"/>
                                          </p:val>
                                        </p:tav>
                                        <p:tav tm="59900">
                                          <p:val>
                                            <p:fltVal val="0.9616"/>
                                          </p:val>
                                        </p:tav>
                                        <p:tav tm="63220">
                                          <p:val>
                                            <p:fltVal val="0.9675"/>
                                          </p:val>
                                        </p:tav>
                                        <p:tav tm="66540">
                                          <p:val>
                                            <p:fltVal val="0.973"/>
                                          </p:val>
                                        </p:tav>
                                        <p:tav tm="69870">
                                          <p:val>
                                            <p:fltVal val="0.978"/>
                                          </p:val>
                                        </p:tav>
                                        <p:tav tm="73190">
                                          <p:val>
                                            <p:fltVal val="0.9825"/>
                                          </p:val>
                                        </p:tav>
                                        <p:tav tm="76510">
                                          <p:val>
                                            <p:fltVal val="0.9865"/>
                                          </p:val>
                                        </p:tav>
                                        <p:tav tm="79830">
                                          <p:val>
                                            <p:fltVal val="0.99"/>
                                          </p:val>
                                        </p:tav>
                                        <p:tav tm="83160">
                                          <p:val>
                                            <p:fltVal val="0.993"/>
                                          </p:val>
                                        </p:tav>
                                        <p:tav tm="86480">
                                          <p:val>
                                            <p:fltVal val="0.9955"/>
                                          </p:val>
                                        </p:tav>
                                        <p:tav tm="89800">
                                          <p:val>
                                            <p:fltVal val="0.9974"/>
                                          </p:val>
                                        </p:tav>
                                        <p:tav tm="93120">
                                          <p:val>
                                            <p:fltVal val="0.9988"/>
                                          </p:val>
                                        </p:tav>
                                        <p:tav tm="96450">
                                          <p:val>
                                            <p:fltVal val="0.9996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mult">
                                        <p:cTn id="2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3d.object.scale.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8"/>
                                          </p:val>
                                        </p:tav>
                                        <p:tav tm="3330">
                                          <p:val>
                                            <p:fltVal val="0.8104"/>
                                          </p:val>
                                        </p:tav>
                                        <p:tav tm="6660">
                                          <p:val>
                                            <p:fltVal val="0.8208"/>
                                          </p:val>
                                        </p:tav>
                                        <p:tav tm="9990">
                                          <p:val>
                                            <p:fltVal val="0.8312"/>
                                          </p:val>
                                        </p:tav>
                                        <p:tav tm="13320">
                                          <p:val>
                                            <p:fltVal val="0.8415"/>
                                          </p:val>
                                        </p:tav>
                                        <p:tav tm="16650">
                                          <p:val>
                                            <p:fltVal val="0.8517"/>
                                          </p:val>
                                        </p:tav>
                                        <p:tav tm="19970">
                                          <p:val>
                                            <p:fltVal val="0.8617"/>
                                          </p:val>
                                        </p:tav>
                                        <p:tav tm="23290">
                                          <p:val>
                                            <p:fltVal val="0.8715"/>
                                          </p:val>
                                        </p:tav>
                                        <p:tav tm="26620">
                                          <p:val>
                                            <p:fltVal val="0.8812"/>
                                          </p:val>
                                        </p:tav>
                                        <p:tav tm="29950">
                                          <p:val>
                                            <p:fltVal val="0.8906"/>
                                          </p:val>
                                        </p:tav>
                                        <p:tav tm="33280">
                                          <p:val>
                                            <p:fltVal val="0.8998"/>
                                          </p:val>
                                        </p:tav>
                                        <p:tav tm="36610">
                                          <p:val>
                                            <p:fltVal val="0.9087"/>
                                          </p:val>
                                        </p:tav>
                                        <p:tav tm="39940">
                                          <p:val>
                                            <p:fltVal val="0.9174"/>
                                          </p:val>
                                        </p:tav>
                                        <p:tav tm="43270">
                                          <p:val>
                                            <p:fltVal val="0.9257"/>
                                          </p:val>
                                        </p:tav>
                                        <p:tav tm="46600">
                                          <p:val>
                                            <p:fltVal val="0.9336"/>
                                          </p:val>
                                        </p:tav>
                                        <p:tav tm="49930">
                                          <p:val>
                                            <p:fltVal val="0.9412"/>
                                          </p:val>
                                        </p:tav>
                                        <p:tav tm="53250">
                                          <p:val>
                                            <p:fltVal val="0.9484"/>
                                          </p:val>
                                        </p:tav>
                                        <p:tav tm="56580">
                                          <p:val>
                                            <p:fltVal val="0.9552"/>
                                          </p:val>
                                        </p:tav>
                                        <p:tav tm="59900">
                                          <p:val>
                                            <p:fltVal val="0.9616"/>
                                          </p:val>
                                        </p:tav>
                                        <p:tav tm="63220">
                                          <p:val>
                                            <p:fltVal val="0.9675"/>
                                          </p:val>
                                        </p:tav>
                                        <p:tav tm="66540">
                                          <p:val>
                                            <p:fltVal val="0.973"/>
                                          </p:val>
                                        </p:tav>
                                        <p:tav tm="69870">
                                          <p:val>
                                            <p:fltVal val="0.978"/>
                                          </p:val>
                                        </p:tav>
                                        <p:tav tm="73190">
                                          <p:val>
                                            <p:fltVal val="0.9825"/>
                                          </p:val>
                                        </p:tav>
                                        <p:tav tm="76510">
                                          <p:val>
                                            <p:fltVal val="0.9865"/>
                                          </p:val>
                                        </p:tav>
                                        <p:tav tm="79830">
                                          <p:val>
                                            <p:fltVal val="0.99"/>
                                          </p:val>
                                        </p:tav>
                                        <p:tav tm="83160">
                                          <p:val>
                                            <p:fltVal val="0.993"/>
                                          </p:val>
                                        </p:tav>
                                        <p:tav tm="86480">
                                          <p:val>
                                            <p:fltVal val="0.9955"/>
                                          </p:val>
                                        </p:tav>
                                        <p:tav tm="89800">
                                          <p:val>
                                            <p:fltVal val="0.9974"/>
                                          </p:val>
                                        </p:tav>
                                        <p:tav tm="93120">
                                          <p:val>
                                            <p:fltVal val="0.9988"/>
                                          </p:val>
                                        </p:tav>
                                        <p:tav tm="96450">
                                          <p:val>
                                            <p:fltVal val="0.9996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mult">
                                        <p:cTn id="2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3d.object.scale.z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8"/>
                                          </p:val>
                                        </p:tav>
                                        <p:tav tm="3330">
                                          <p:val>
                                            <p:fltVal val="0.8104"/>
                                          </p:val>
                                        </p:tav>
                                        <p:tav tm="6660">
                                          <p:val>
                                            <p:fltVal val="0.8208"/>
                                          </p:val>
                                        </p:tav>
                                        <p:tav tm="9990">
                                          <p:val>
                                            <p:fltVal val="0.8312"/>
                                          </p:val>
                                        </p:tav>
                                        <p:tav tm="13320">
                                          <p:val>
                                            <p:fltVal val="0.8415"/>
                                          </p:val>
                                        </p:tav>
                                        <p:tav tm="16650">
                                          <p:val>
                                            <p:fltVal val="0.8517"/>
                                          </p:val>
                                        </p:tav>
                                        <p:tav tm="19970">
                                          <p:val>
                                            <p:fltVal val="0.8617"/>
                                          </p:val>
                                        </p:tav>
                                        <p:tav tm="23290">
                                          <p:val>
                                            <p:fltVal val="0.8715"/>
                                          </p:val>
                                        </p:tav>
                                        <p:tav tm="26620">
                                          <p:val>
                                            <p:fltVal val="0.8812"/>
                                          </p:val>
                                        </p:tav>
                                        <p:tav tm="29950">
                                          <p:val>
                                            <p:fltVal val="0.8906"/>
                                          </p:val>
                                        </p:tav>
                                        <p:tav tm="33280">
                                          <p:val>
                                            <p:fltVal val="0.8998"/>
                                          </p:val>
                                        </p:tav>
                                        <p:tav tm="36610">
                                          <p:val>
                                            <p:fltVal val="0.9087"/>
                                          </p:val>
                                        </p:tav>
                                        <p:tav tm="39940">
                                          <p:val>
                                            <p:fltVal val="0.9174"/>
                                          </p:val>
                                        </p:tav>
                                        <p:tav tm="43270">
                                          <p:val>
                                            <p:fltVal val="0.9257"/>
                                          </p:val>
                                        </p:tav>
                                        <p:tav tm="46600">
                                          <p:val>
                                            <p:fltVal val="0.9336"/>
                                          </p:val>
                                        </p:tav>
                                        <p:tav tm="49930">
                                          <p:val>
                                            <p:fltVal val="0.9412"/>
                                          </p:val>
                                        </p:tav>
                                        <p:tav tm="53250">
                                          <p:val>
                                            <p:fltVal val="0.9484"/>
                                          </p:val>
                                        </p:tav>
                                        <p:tav tm="56580">
                                          <p:val>
                                            <p:fltVal val="0.9552"/>
                                          </p:val>
                                        </p:tav>
                                        <p:tav tm="59900">
                                          <p:val>
                                            <p:fltVal val="0.9616"/>
                                          </p:val>
                                        </p:tav>
                                        <p:tav tm="63220">
                                          <p:val>
                                            <p:fltVal val="0.9675"/>
                                          </p:val>
                                        </p:tav>
                                        <p:tav tm="66540">
                                          <p:val>
                                            <p:fltVal val="0.973"/>
                                          </p:val>
                                        </p:tav>
                                        <p:tav tm="69870">
                                          <p:val>
                                            <p:fltVal val="0.978"/>
                                          </p:val>
                                        </p:tav>
                                        <p:tav tm="73190">
                                          <p:val>
                                            <p:fltVal val="0.9825"/>
                                          </p:val>
                                        </p:tav>
                                        <p:tav tm="76510">
                                          <p:val>
                                            <p:fltVal val="0.9865"/>
                                          </p:val>
                                        </p:tav>
                                        <p:tav tm="79830">
                                          <p:val>
                                            <p:fltVal val="0.99"/>
                                          </p:val>
                                        </p:tav>
                                        <p:tav tm="83160">
                                          <p:val>
                                            <p:fltVal val="0.993"/>
                                          </p:val>
                                        </p:tav>
                                        <p:tav tm="86480">
                                          <p:val>
                                            <p:fltVal val="0.9955"/>
                                          </p:val>
                                        </p:tav>
                                        <p:tav tm="89800">
                                          <p:val>
                                            <p:fltVal val="0.9974"/>
                                          </p:val>
                                        </p:tav>
                                        <p:tav tm="93120">
                                          <p:val>
                                            <p:fltVal val="0.9988"/>
                                          </p:val>
                                        </p:tav>
                                        <p:tav tm="96450">
                                          <p:val>
                                            <p:fltVal val="0.9996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37" presetClass="emph" presetSubtype="128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25" dur="5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3d.view.rotation.y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iterate type="wd">
                                    <p:tmPct val="400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60" presetClass="exit" presetSubtype="128" fill="hold" nodeType="withEffect">
                                  <p:stCondLst>
                                    <p:cond delay="47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 additive="sum">
                                        <p:cTn id="34" dur="1000"/>
                                        <p:tgtEl>
                                          <p:spTgt spid="9"/>
                                        </p:tgtEl>
                                        <p:attrNameLst>
                                          <p:attrName>3d.view.rotation.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3330">
                                          <p:val>
                                            <p:fltVal val="0.1301"/>
                                          </p:val>
                                        </p:tav>
                                        <p:tav tm="6660">
                                          <p:val>
                                            <p:fltVal val="0.5086"/>
                                          </p:val>
                                        </p:tav>
                                        <p:tav tm="9990">
                                          <p:val>
                                            <p:fltVal val="1.1178"/>
                                          </p:val>
                                        </p:tav>
                                        <p:tav tm="13320">
                                          <p:val>
                                            <p:fltVal val="1.94"/>
                                          </p:val>
                                        </p:tav>
                                        <p:tav tm="16650">
                                          <p:val>
                                            <p:fltVal val="2.9574"/>
                                          </p:val>
                                        </p:tav>
                                        <p:tav tm="19970">
                                          <p:val>
                                            <p:fltVal val="4.1484"/>
                                          </p:val>
                                        </p:tav>
                                        <p:tav tm="23290">
                                          <p:val>
                                            <p:fltVal val="5.4984"/>
                                          </p:val>
                                        </p:tav>
                                        <p:tav tm="26620">
                                          <p:val>
                                            <p:fltVal val="6.9944"/>
                                          </p:val>
                                        </p:tav>
                                        <p:tav tm="29950">
                                          <p:val>
                                            <p:fltVal val="8.6148"/>
                                          </p:val>
                                        </p:tav>
                                        <p:tav tm="33280">
                                          <p:val>
                                            <p:fltVal val="10.3419"/>
                                          </p:val>
                                        </p:tav>
                                        <p:tav tm="36610">
                                          <p:val>
                                            <p:fltVal val="12.158"/>
                                          </p:val>
                                        </p:tav>
                                        <p:tav tm="39940">
                                          <p:val>
                                            <p:fltVal val="14.0454"/>
                                          </p:val>
                                        </p:tav>
                                        <p:tav tm="43270">
                                          <p:val>
                                            <p:fltVal val="15.9863"/>
                                          </p:val>
                                        </p:tav>
                                        <p:tav tm="46600">
                                          <p:val>
                                            <p:fltVal val="17.9631"/>
                                          </p:val>
                                        </p:tav>
                                        <p:tav tm="49930">
                                          <p:val>
                                            <p:fltVal val="19.958"/>
                                          </p:val>
                                        </p:tav>
                                        <p:tav tm="53250">
                                          <p:val>
                                            <p:fltVal val="21.9472"/>
                                          </p:val>
                                        </p:tav>
                                        <p:tav tm="56580">
                                          <p:val>
                                            <p:fltVal val="23.9252"/>
                                          </p:val>
                                        </p:tav>
                                        <p:tav tm="59900">
                                          <p:val>
                                            <p:fltVal val="25.8623"/>
                                          </p:val>
                                        </p:tav>
                                        <p:tav tm="63220">
                                          <p:val>
                                            <p:fltVal val="27.7471"/>
                                          </p:val>
                                        </p:tav>
                                        <p:tav tm="66540">
                                          <p:val>
                                            <p:fltVal val="29.562"/>
                                          </p:val>
                                        </p:tav>
                                        <p:tav tm="69870">
                                          <p:val>
                                            <p:fltVal val="31.2943"/>
                                          </p:val>
                                        </p:tav>
                                        <p:tav tm="73190">
                                          <p:val>
                                            <p:fltVal val="32.9163"/>
                                          </p:val>
                                        </p:tav>
                                        <p:tav tm="76510">
                                          <p:val>
                                            <p:fltVal val="34.4155"/>
                                          </p:val>
                                        </p:tav>
                                        <p:tav tm="79830">
                                          <p:val>
                                            <p:fltVal val="35.7745"/>
                                          </p:val>
                                        </p:tav>
                                        <p:tav tm="83160">
                                          <p:val>
                                            <p:fltVal val="36.979"/>
                                          </p:val>
                                        </p:tav>
                                        <p:tav tm="86480">
                                          <p:val>
                                            <p:fltVal val="38.0042"/>
                                          </p:val>
                                        </p:tav>
                                        <p:tav tm="89800">
                                          <p:val>
                                            <p:fltVal val="38.8364"/>
                                          </p:val>
                                        </p:tav>
                                        <p:tav tm="93120">
                                          <p:val>
                                            <p:fltVal val="39.458"/>
                                          </p:val>
                                        </p:tav>
                                        <p:tav tm="96450">
                                          <p:val>
                                            <p:fltVal val="39.8523"/>
                                          </p:val>
                                        </p:tav>
                                        <p:tav tm="100000">
                                          <p:val>
                                            <p:fltVal val="4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mult">
                                        <p:cTn id="35" dur="1000"/>
                                        <p:tgtEl>
                                          <p:spTgt spid="9"/>
                                        </p:tgtEl>
                                        <p:attrNameLst>
                                          <p:attrName>3d.object.scale.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1"/>
                                          </p:val>
                                        </p:tav>
                                        <p:tav tm="3330">
                                          <p:val>
                                            <p:fltVal val="0.9895"/>
                                          </p:val>
                                        </p:tav>
                                        <p:tav tm="6660">
                                          <p:val>
                                            <p:fltVal val="0.9791"/>
                                          </p:val>
                                        </p:tav>
                                        <p:tav tm="9990">
                                          <p:val>
                                            <p:fltVal val="0.9687"/>
                                          </p:val>
                                        </p:tav>
                                        <p:tav tm="13320">
                                          <p:val>
                                            <p:fltVal val="0.9584"/>
                                          </p:val>
                                        </p:tav>
                                        <p:tav tm="16650">
                                          <p:val>
                                            <p:fltVal val="0.9482"/>
                                          </p:val>
                                        </p:tav>
                                        <p:tav tm="19970">
                                          <p:val>
                                            <p:fltVal val="0.9382"/>
                                          </p:val>
                                        </p:tav>
                                        <p:tav tm="23290">
                                          <p:val>
                                            <p:fltVal val="0.9284"/>
                                          </p:val>
                                        </p:tav>
                                        <p:tav tm="26620">
                                          <p:val>
                                            <p:fltVal val="0.9187"/>
                                          </p:val>
                                        </p:tav>
                                        <p:tav tm="29950">
                                          <p:val>
                                            <p:fltVal val="0.9093"/>
                                          </p:val>
                                        </p:tav>
                                        <p:tav tm="33280">
                                          <p:val>
                                            <p:fltVal val="0.9001"/>
                                          </p:val>
                                        </p:tav>
                                        <p:tav tm="36610">
                                          <p:val>
                                            <p:fltVal val="0.8912"/>
                                          </p:val>
                                        </p:tav>
                                        <p:tav tm="39940">
                                          <p:val>
                                            <p:fltVal val="0.8825"/>
                                          </p:val>
                                        </p:tav>
                                        <p:tav tm="43270">
                                          <p:val>
                                            <p:fltVal val="0.8742"/>
                                          </p:val>
                                        </p:tav>
                                        <p:tav tm="46600">
                                          <p:val>
                                            <p:fltVal val="0.8663"/>
                                          </p:val>
                                        </p:tav>
                                        <p:tav tm="49930">
                                          <p:val>
                                            <p:fltVal val="0.8587"/>
                                          </p:val>
                                        </p:tav>
                                        <p:tav tm="53250">
                                          <p:val>
                                            <p:fltVal val="0.8515"/>
                                          </p:val>
                                        </p:tav>
                                        <p:tav tm="56580">
                                          <p:val>
                                            <p:fltVal val="0.8447"/>
                                          </p:val>
                                        </p:tav>
                                        <p:tav tm="59900">
                                          <p:val>
                                            <p:fltVal val="0.8383"/>
                                          </p:val>
                                        </p:tav>
                                        <p:tav tm="63220">
                                          <p:val>
                                            <p:fltVal val="0.8324"/>
                                          </p:val>
                                        </p:tav>
                                        <p:tav tm="66540">
                                          <p:val>
                                            <p:fltVal val="0.8269"/>
                                          </p:val>
                                        </p:tav>
                                        <p:tav tm="69870">
                                          <p:val>
                                            <p:fltVal val="0.8219"/>
                                          </p:val>
                                        </p:tav>
                                        <p:tav tm="73190">
                                          <p:val>
                                            <p:fltVal val="0.8174"/>
                                          </p:val>
                                        </p:tav>
                                        <p:tav tm="76510">
                                          <p:val>
                                            <p:fltVal val="0.8134"/>
                                          </p:val>
                                        </p:tav>
                                        <p:tav tm="79830">
                                          <p:val>
                                            <p:fltVal val="0.8099"/>
                                          </p:val>
                                        </p:tav>
                                        <p:tav tm="83160">
                                          <p:val>
                                            <p:fltVal val="0.8069"/>
                                          </p:val>
                                        </p:tav>
                                        <p:tav tm="86480">
                                          <p:val>
                                            <p:fltVal val="0.8044"/>
                                          </p:val>
                                        </p:tav>
                                        <p:tav tm="89800">
                                          <p:val>
                                            <p:fltVal val="0.8025"/>
                                          </p:val>
                                        </p:tav>
                                        <p:tav tm="93120">
                                          <p:val>
                                            <p:fltVal val="0.8011"/>
                                          </p:val>
                                        </p:tav>
                                        <p:tav tm="96450">
                                          <p:val>
                                            <p:fltVal val="0.8003"/>
                                          </p:val>
                                        </p:tav>
                                        <p:tav tm="100000">
                                          <p:val>
                                            <p:fltVal val="0.8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mult">
                                        <p:cTn id="36" dur="1000"/>
                                        <p:tgtEl>
                                          <p:spTgt spid="9"/>
                                        </p:tgtEl>
                                        <p:attrNameLst>
                                          <p:attrName>3d.object.scale.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1"/>
                                          </p:val>
                                        </p:tav>
                                        <p:tav tm="3330">
                                          <p:val>
                                            <p:fltVal val="0.9895"/>
                                          </p:val>
                                        </p:tav>
                                        <p:tav tm="6660">
                                          <p:val>
                                            <p:fltVal val="0.9791"/>
                                          </p:val>
                                        </p:tav>
                                        <p:tav tm="9990">
                                          <p:val>
                                            <p:fltVal val="0.9687"/>
                                          </p:val>
                                        </p:tav>
                                        <p:tav tm="13320">
                                          <p:val>
                                            <p:fltVal val="0.9584"/>
                                          </p:val>
                                        </p:tav>
                                        <p:tav tm="16650">
                                          <p:val>
                                            <p:fltVal val="0.9482"/>
                                          </p:val>
                                        </p:tav>
                                        <p:tav tm="19970">
                                          <p:val>
                                            <p:fltVal val="0.9382"/>
                                          </p:val>
                                        </p:tav>
                                        <p:tav tm="23290">
                                          <p:val>
                                            <p:fltVal val="0.9284"/>
                                          </p:val>
                                        </p:tav>
                                        <p:tav tm="26620">
                                          <p:val>
                                            <p:fltVal val="0.9187"/>
                                          </p:val>
                                        </p:tav>
                                        <p:tav tm="29950">
                                          <p:val>
                                            <p:fltVal val="0.9093"/>
                                          </p:val>
                                        </p:tav>
                                        <p:tav tm="33280">
                                          <p:val>
                                            <p:fltVal val="0.9001"/>
                                          </p:val>
                                        </p:tav>
                                        <p:tav tm="36610">
                                          <p:val>
                                            <p:fltVal val="0.8912"/>
                                          </p:val>
                                        </p:tav>
                                        <p:tav tm="39940">
                                          <p:val>
                                            <p:fltVal val="0.8825"/>
                                          </p:val>
                                        </p:tav>
                                        <p:tav tm="43270">
                                          <p:val>
                                            <p:fltVal val="0.8742"/>
                                          </p:val>
                                        </p:tav>
                                        <p:tav tm="46600">
                                          <p:val>
                                            <p:fltVal val="0.8663"/>
                                          </p:val>
                                        </p:tav>
                                        <p:tav tm="49930">
                                          <p:val>
                                            <p:fltVal val="0.8587"/>
                                          </p:val>
                                        </p:tav>
                                        <p:tav tm="53250">
                                          <p:val>
                                            <p:fltVal val="0.8515"/>
                                          </p:val>
                                        </p:tav>
                                        <p:tav tm="56580">
                                          <p:val>
                                            <p:fltVal val="0.8447"/>
                                          </p:val>
                                        </p:tav>
                                        <p:tav tm="59900">
                                          <p:val>
                                            <p:fltVal val="0.8383"/>
                                          </p:val>
                                        </p:tav>
                                        <p:tav tm="63220">
                                          <p:val>
                                            <p:fltVal val="0.8324"/>
                                          </p:val>
                                        </p:tav>
                                        <p:tav tm="66540">
                                          <p:val>
                                            <p:fltVal val="0.8269"/>
                                          </p:val>
                                        </p:tav>
                                        <p:tav tm="69870">
                                          <p:val>
                                            <p:fltVal val="0.8219"/>
                                          </p:val>
                                        </p:tav>
                                        <p:tav tm="73190">
                                          <p:val>
                                            <p:fltVal val="0.8174"/>
                                          </p:val>
                                        </p:tav>
                                        <p:tav tm="76510">
                                          <p:val>
                                            <p:fltVal val="0.8134"/>
                                          </p:val>
                                        </p:tav>
                                        <p:tav tm="79830">
                                          <p:val>
                                            <p:fltVal val="0.8099"/>
                                          </p:val>
                                        </p:tav>
                                        <p:tav tm="83160">
                                          <p:val>
                                            <p:fltVal val="0.8069"/>
                                          </p:val>
                                        </p:tav>
                                        <p:tav tm="86480">
                                          <p:val>
                                            <p:fltVal val="0.8044"/>
                                          </p:val>
                                        </p:tav>
                                        <p:tav tm="89800">
                                          <p:val>
                                            <p:fltVal val="0.8025"/>
                                          </p:val>
                                        </p:tav>
                                        <p:tav tm="93120">
                                          <p:val>
                                            <p:fltVal val="0.8011"/>
                                          </p:val>
                                        </p:tav>
                                        <p:tav tm="96450">
                                          <p:val>
                                            <p:fltVal val="0.8003"/>
                                          </p:val>
                                        </p:tav>
                                        <p:tav tm="100000">
                                          <p:val>
                                            <p:fltVal val="0.8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mult">
                                        <p:cTn id="37" dur="1000"/>
                                        <p:tgtEl>
                                          <p:spTgt spid="9"/>
                                        </p:tgtEl>
                                        <p:attrNameLst>
                                          <p:attrName>3d.object.scale.z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1"/>
                                          </p:val>
                                        </p:tav>
                                        <p:tav tm="3330">
                                          <p:val>
                                            <p:fltVal val="0.9895"/>
                                          </p:val>
                                        </p:tav>
                                        <p:tav tm="6660">
                                          <p:val>
                                            <p:fltVal val="0.9791"/>
                                          </p:val>
                                        </p:tav>
                                        <p:tav tm="9990">
                                          <p:val>
                                            <p:fltVal val="0.9687"/>
                                          </p:val>
                                        </p:tav>
                                        <p:tav tm="13320">
                                          <p:val>
                                            <p:fltVal val="0.9584"/>
                                          </p:val>
                                        </p:tav>
                                        <p:tav tm="16650">
                                          <p:val>
                                            <p:fltVal val="0.9482"/>
                                          </p:val>
                                        </p:tav>
                                        <p:tav tm="19970">
                                          <p:val>
                                            <p:fltVal val="0.9382"/>
                                          </p:val>
                                        </p:tav>
                                        <p:tav tm="23290">
                                          <p:val>
                                            <p:fltVal val="0.9284"/>
                                          </p:val>
                                        </p:tav>
                                        <p:tav tm="26620">
                                          <p:val>
                                            <p:fltVal val="0.9187"/>
                                          </p:val>
                                        </p:tav>
                                        <p:tav tm="29950">
                                          <p:val>
                                            <p:fltVal val="0.9093"/>
                                          </p:val>
                                        </p:tav>
                                        <p:tav tm="33280">
                                          <p:val>
                                            <p:fltVal val="0.9001"/>
                                          </p:val>
                                        </p:tav>
                                        <p:tav tm="36610">
                                          <p:val>
                                            <p:fltVal val="0.8912"/>
                                          </p:val>
                                        </p:tav>
                                        <p:tav tm="39940">
                                          <p:val>
                                            <p:fltVal val="0.8825"/>
                                          </p:val>
                                        </p:tav>
                                        <p:tav tm="43270">
                                          <p:val>
                                            <p:fltVal val="0.8742"/>
                                          </p:val>
                                        </p:tav>
                                        <p:tav tm="46600">
                                          <p:val>
                                            <p:fltVal val="0.8663"/>
                                          </p:val>
                                        </p:tav>
                                        <p:tav tm="49930">
                                          <p:val>
                                            <p:fltVal val="0.8587"/>
                                          </p:val>
                                        </p:tav>
                                        <p:tav tm="53250">
                                          <p:val>
                                            <p:fltVal val="0.8515"/>
                                          </p:val>
                                        </p:tav>
                                        <p:tav tm="56580">
                                          <p:val>
                                            <p:fltVal val="0.8447"/>
                                          </p:val>
                                        </p:tav>
                                        <p:tav tm="59900">
                                          <p:val>
                                            <p:fltVal val="0.8383"/>
                                          </p:val>
                                        </p:tav>
                                        <p:tav tm="63220">
                                          <p:val>
                                            <p:fltVal val="0.8324"/>
                                          </p:val>
                                        </p:tav>
                                        <p:tav tm="66540">
                                          <p:val>
                                            <p:fltVal val="0.8269"/>
                                          </p:val>
                                        </p:tav>
                                        <p:tav tm="69870">
                                          <p:val>
                                            <p:fltVal val="0.8219"/>
                                          </p:val>
                                        </p:tav>
                                        <p:tav tm="73190">
                                          <p:val>
                                            <p:fltVal val="0.8174"/>
                                          </p:val>
                                        </p:tav>
                                        <p:tav tm="76510">
                                          <p:val>
                                            <p:fltVal val="0.8134"/>
                                          </p:val>
                                        </p:tav>
                                        <p:tav tm="79830">
                                          <p:val>
                                            <p:fltVal val="0.8099"/>
                                          </p:val>
                                        </p:tav>
                                        <p:tav tm="83160">
                                          <p:val>
                                            <p:fltVal val="0.8069"/>
                                          </p:val>
                                        </p:tav>
                                        <p:tav tm="86480">
                                          <p:val>
                                            <p:fltVal val="0.8044"/>
                                          </p:val>
                                        </p:tav>
                                        <p:tav tm="89800">
                                          <p:val>
                                            <p:fltVal val="0.8025"/>
                                          </p:val>
                                        </p:tav>
                                        <p:tav tm="93120">
                                          <p:val>
                                            <p:fltVal val="0.8011"/>
                                          </p:val>
                                        </p:tav>
                                        <p:tav tm="96450">
                                          <p:val>
                                            <p:fltVal val="0.8003"/>
                                          </p:val>
                                        </p:tav>
                                        <p:tav tm="100000">
                                          <p:val>
                                            <p:fltVal val="0.8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53" presetClass="exit" presetSubtype="32" fill="hold" grpId="1" nodeType="withEffect">
                                  <p:stCondLst>
                                    <p:cond delay="4750"/>
                                  </p:stCondLst>
                                  <p:childTnLst>
                                    <p:anim calcmode="lin" valueType="num">
                                      <p:cBhvr>
                                        <p:cTn id="40" dur="10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42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53" presetClass="exit" presetSubtype="32" fill="hold" grpId="2" nodeType="withEffect">
                                  <p:stCondLst>
                                    <p:cond delay="4750"/>
                                  </p:stCondLst>
                                  <p:childTnLst>
                                    <p:anim calcmode="lin" valueType="num">
                                      <p:cBhvr>
                                        <p:cTn id="45" dur="10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4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0" presetClass="exit" presetSubtype="0" fill="hold" nodeType="withEffect">
                                  <p:stCondLst>
                                    <p:cond delay="47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10" presetClass="exit" presetSubtype="0" fill="hold" grpId="1" nodeType="withEffect">
                                  <p:stCondLst>
                                    <p:cond delay="4750"/>
                                  </p:stCondLst>
                                  <p:iterate type="wd">
                                    <p:tmPct val="0"/>
                                  </p:iterate>
                                  <p:childTnLst>
                                    <p:animEffect transition="out" filter="fade">
                                      <p:cBhvr>
                                        <p:cTn id="53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2" grpId="1" animBg="1"/>
      <p:bldP spid="3" grpId="0" animBg="1"/>
      <p:bldP spid="3" grpId="1" animBg="1"/>
      <p:bldP spid="3" grpId="2" animBg="1"/>
      <p:bldP spid="10" grpId="0"/>
      <p:bldP spid="10" grpId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41F334EB-B48E-49FB-04D6-5B4C53CDFFED}"/>
              </a:ext>
            </a:extLst>
          </p:cNvPr>
          <p:cNvSpPr txBox="1"/>
          <p:nvPr/>
        </p:nvSpPr>
        <p:spPr>
          <a:xfrm>
            <a:off x="4380626" y="4788977"/>
            <a:ext cx="302685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4000" b="1" dirty="0">
                <a:solidFill>
                  <a:schemeClr val="accent4"/>
                </a:solidFill>
                <a:latin typeface="Calibri" panose="020F0502020204030204" pitchFamily="34" charset="0"/>
              </a:rPr>
              <a:t>Olive baboon</a:t>
            </a:r>
            <a:endParaRPr lang="en-US" sz="4000" b="1" dirty="0">
              <a:solidFill>
                <a:schemeClr val="accent4"/>
              </a:solidFill>
              <a:latin typeface="Calibri" panose="020F050202020403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AF2EAF5-5095-474F-6B9E-5F0465056BAE}"/>
              </a:ext>
            </a:extLst>
          </p:cNvPr>
          <p:cNvSpPr txBox="1"/>
          <p:nvPr/>
        </p:nvSpPr>
        <p:spPr>
          <a:xfrm>
            <a:off x="3048000" y="5575300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b="0" i="0" dirty="0">
                <a:solidFill>
                  <a:srgbClr val="202122"/>
                </a:solidFill>
                <a:effectLst/>
                <a:latin typeface="Calibri" panose="020F0502020204030204" pitchFamily="34" charset="0"/>
              </a:rPr>
              <a:t>one of the largest species of monkey</a:t>
            </a:r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3F103DA-75C4-F4F7-95BA-E08477C1BD0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19416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5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8097C4BE-1385-76DB-EA8D-F433B1F1F359}"/>
              </a:ext>
            </a:extLst>
          </p:cNvPr>
          <p:cNvSpPr txBox="1"/>
          <p:nvPr/>
        </p:nvSpPr>
        <p:spPr>
          <a:xfrm>
            <a:off x="2252952" y="460793"/>
            <a:ext cx="700095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l-PL" sz="1400" dirty="0"/>
              <a:t>I found this nice </a:t>
            </a:r>
            <a:r>
              <a:rPr lang="pl-PL" sz="1400" b="1" dirty="0"/>
              <a:t>GLB model </a:t>
            </a:r>
            <a:r>
              <a:rPr lang="pl-PL" sz="1400" dirty="0"/>
              <a:t>here:</a:t>
            </a:r>
          </a:p>
          <a:p>
            <a:pPr algn="ctr"/>
            <a:r>
              <a:rPr lang="pl-PL" sz="1400" dirty="0">
                <a:hlinkClick r:id="rId4"/>
              </a:rPr>
              <a:t>https://sketchfab.com/3d-models/coptic-prayer-book-500ec4621d764f0dadb8edc93b8700ae</a:t>
            </a:r>
            <a:r>
              <a:rPr lang="pl-PL" sz="1400" dirty="0"/>
              <a:t> </a:t>
            </a:r>
          </a:p>
        </p:txBody>
      </p:sp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3" name="3D Model 2">
                <a:extLst>
                  <a:ext uri="{FF2B5EF4-FFF2-40B4-BE49-F238E27FC236}">
                    <a16:creationId xmlns:a16="http://schemas.microsoft.com/office/drawing/2014/main" id="{B4345CBE-FECB-E074-2367-4606C67BFF68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61070337"/>
                  </p:ext>
                </p:extLst>
              </p:nvPr>
            </p:nvGraphicFramePr>
            <p:xfrm>
              <a:off x="4597450" y="1768149"/>
              <a:ext cx="2997099" cy="3548945"/>
            </p:xfrm>
            <a:graphic>
              <a:graphicData uri="http://schemas.microsoft.com/office/drawing/2017/model3d">
                <am3d:model3d r:embed="rId5">
                  <am3d:spPr>
                    <a:xfrm>
                      <a:off x="0" y="0"/>
                      <a:ext cx="2997099" cy="3548945"/>
                    </a:xfrm>
                    <a:prstGeom prst="rect">
                      <a:avLst/>
                    </a:prstGeom>
                  </am3d:spPr>
                  <am3d:camera>
                    <am3d:pos x="0" y="0" z="77200979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4175" d="1000000"/>
                    <am3d:preTrans dx="-655293" dy="-327714" dz="1017313"/>
                    <am3d:scale>
                      <am3d:sx n="1000000" d="1000000"/>
                      <am3d:sy n="1000000" d="1000000"/>
                      <am3d:sz n="1000000" d="1000000"/>
                    </am3d:scale>
                    <am3d:rot ax="5349533" ay="2738846" az="5329393"/>
                    <am3d:postTrans dx="0" dy="0" dz="0"/>
                  </am3d:trans>
                  <am3d:raster rName="Office3DRenderer" rVer="16.0.8326">
                    <am3d:blip r:embed="rId6"/>
                  </am3d:raster>
                  <am3d:objViewport viewportSz="7430901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3" name="3D Model 2">
                <a:extLst>
                  <a:ext uri="{FF2B5EF4-FFF2-40B4-BE49-F238E27FC236}">
                    <a16:creationId xmlns:a16="http://schemas.microsoft.com/office/drawing/2014/main" id="{B4345CBE-FECB-E074-2367-4606C67BFF68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597450" y="1768149"/>
                <a:ext cx="2997099" cy="3548945"/>
              </a:xfrm>
              <a:prstGeom prst="rect">
                <a:avLst/>
              </a:prstGeom>
            </p:spPr>
          </p:pic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26966012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ROBIĘ SZABLON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DCA40"/>
      </a:accent1>
      <a:accent2>
        <a:srgbClr val="BE9D12"/>
      </a:accent2>
      <a:accent3>
        <a:srgbClr val="EBAC02"/>
      </a:accent3>
      <a:accent4>
        <a:srgbClr val="010F04"/>
      </a:accent4>
      <a:accent5>
        <a:srgbClr val="E8AC02"/>
      </a:accent5>
      <a:accent6>
        <a:srgbClr val="0CAC2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F5EC4FAED17FD4FA002B715A7CB3129" ma:contentTypeVersion="19" ma:contentTypeDescription="Create a new document." ma:contentTypeScope="" ma:versionID="0f295b4eaac5758ed5fac4959b75d881">
  <xsd:schema xmlns:xsd="http://www.w3.org/2001/XMLSchema" xmlns:xs="http://www.w3.org/2001/XMLSchema" xmlns:p="http://schemas.microsoft.com/office/2006/metadata/properties" xmlns:ns2="92e4be8c-5aca-45ec-8e17-deab1f90d7c8" xmlns:ns3="92b31412-8c8f-44f1-a883-141cef3f34cc" targetNamespace="http://schemas.microsoft.com/office/2006/metadata/properties" ma:root="true" ma:fieldsID="57dd884e41ecc57e715e77a3a1c4b2cc" ns2:_="" ns3:_="">
    <xsd:import namespace="92e4be8c-5aca-45ec-8e17-deab1f90d7c8"/>
    <xsd:import namespace="92b31412-8c8f-44f1-a883-141cef3f34cc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AutoKeyPoints" minOccurs="0"/>
                <xsd:element ref="ns3:MediaServiceKeyPoints" minOccurs="0"/>
                <xsd:element ref="ns3:Duration" minOccurs="0"/>
                <xsd:element ref="ns3:MediaLengthInSeconds" minOccurs="0"/>
                <xsd:element ref="ns3:MediaServiceLocation" minOccurs="0"/>
                <xsd:element ref="ns3:lcf76f155ced4ddcb4097134ff3c332f" minOccurs="0"/>
                <xsd:element ref="ns2:TaxCatchAll" minOccurs="0"/>
                <xsd:element ref="ns3:MediaServiceSearchProperties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e4be8c-5aca-45ec-8e17-deab1f90d7c8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d795d2f5-1cbf-45cb-9409-0dc909a94953}" ma:internalName="TaxCatchAll" ma:showField="CatchAllData" ma:web="92e4be8c-5aca-45ec-8e17-deab1f90d7c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b31412-8c8f-44f1-a883-141cef3f34c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Duration" ma:index="19" nillable="true" ma:displayName="Duration" ma:internalName="Duration">
      <xsd:simpleType>
        <xsd:restriction base="dms:Text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c4206cbd-ed67-49c0-b8a0-af32ee4f262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6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2b31412-8c8f-44f1-a883-141cef3f34cc">
      <Terms xmlns="http://schemas.microsoft.com/office/infopath/2007/PartnerControls"/>
    </lcf76f155ced4ddcb4097134ff3c332f>
    <TaxCatchAll xmlns="92e4be8c-5aca-45ec-8e17-deab1f90d7c8" xsi:nil="true"/>
    <Duration xmlns="92b31412-8c8f-44f1-a883-141cef3f34cc" xsi:nil="true"/>
  </documentManagement>
</p:properties>
</file>

<file path=customXml/itemProps1.xml><?xml version="1.0" encoding="utf-8"?>
<ds:datastoreItem xmlns:ds="http://schemas.openxmlformats.org/officeDocument/2006/customXml" ds:itemID="{19015B05-8DFD-45DA-B1ED-689A502680B5}"/>
</file>

<file path=customXml/itemProps2.xml><?xml version="1.0" encoding="utf-8"?>
<ds:datastoreItem xmlns:ds="http://schemas.openxmlformats.org/officeDocument/2006/customXml" ds:itemID="{09E1B49B-6756-4E1F-93FF-1D43749C020C}"/>
</file>

<file path=customXml/itemProps3.xml><?xml version="1.0" encoding="utf-8"?>
<ds:datastoreItem xmlns:ds="http://schemas.openxmlformats.org/officeDocument/2006/customXml" ds:itemID="{6E39FD06-7791-4F75-93CA-43A4AF74AA4D}"/>
</file>

<file path=docProps/app.xml><?xml version="1.0" encoding="utf-8"?>
<Properties xmlns="http://schemas.openxmlformats.org/officeDocument/2006/extended-properties" xmlns:vt="http://schemas.openxmlformats.org/officeDocument/2006/docPropsVTypes">
  <TotalTime>111</TotalTime>
  <Words>75</Words>
  <Application>Microsoft Office PowerPoint</Application>
  <PresentationFormat>Widescreen</PresentationFormat>
  <Paragraphs>10</Paragraphs>
  <Slides>4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0" baseType="lpstr">
      <vt:lpstr>Calibri</vt:lpstr>
      <vt:lpstr>Lato Black</vt:lpstr>
      <vt:lpstr>Lato</vt:lpstr>
      <vt:lpstr>Arial</vt:lpstr>
      <vt:lpstr>Calibri Light</vt:lpstr>
      <vt:lpstr>Office Theme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drew P</dc:creator>
  <cp:lastModifiedBy>Andrew P</cp:lastModifiedBy>
  <cp:revision>26</cp:revision>
  <dcterms:created xsi:type="dcterms:W3CDTF">2024-01-22T07:06:39Z</dcterms:created>
  <dcterms:modified xsi:type="dcterms:W3CDTF">2024-01-25T08:27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5EC4FAED17FD4FA002B715A7CB3129</vt:lpwstr>
  </property>
</Properties>
</file>